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5"/>
  </p:notesMasterIdLst>
  <p:handoutMasterIdLst>
    <p:handoutMasterId r:id="rId16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85" r:id="rId10"/>
    <p:sldId id="1343" r:id="rId11"/>
    <p:sldId id="1344" r:id="rId12"/>
    <p:sldId id="1345" r:id="rId13"/>
    <p:sldId id="1346" r:id="rId14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85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08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8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/>
              <a:t>8</a:t>
            </a:r>
            <a:r>
              <a:rPr lang="cs-CZ" b="1" dirty="0" smtClean="0"/>
              <a:t>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478871"/>
              </p:ext>
            </p:extLst>
          </p:nvPr>
        </p:nvGraphicFramePr>
        <p:xfrm>
          <a:off x="288084" y="735513"/>
          <a:ext cx="11587543" cy="6015899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464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3876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, výrazně omezená kapacita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ásadní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Omezená možnost překladů již neinfekční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Pokles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95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, deeskalac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ovan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ek na běžný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režim. V připravenost opatř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éče tak IP pro variantu omikron či jiné mutace. Personál již delší dobu za hranou svých možností, převádění nevybrané dovolené, volna, podíl profesní frustrace…takže komplexní únava systém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5114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tlak na následnou péči. Vš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 je za hranou svých možností a kapacit, převádí již druhým rokem strašlivá kvanta dovolené a osobního volna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438078"/>
              </p:ext>
            </p:extLst>
          </p:nvPr>
        </p:nvGraphicFramePr>
        <p:xfrm>
          <a:off x="376606" y="805063"/>
          <a:ext cx="11519385" cy="5613314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329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9698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největší zátěž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ecně stran personálu – spousta PN (mim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dchody ze ZZ- Někteří nechtějí zažít další vlnu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7471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oproti podzimu zklidnění situace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plánované operativy minimální, někde maximálně do 2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ost personálu v trendu , očekává se zvýše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vistos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 nákaz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OČR, nemocnost)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97650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é %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, ECMO kapacita dostatečná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icho před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kronovou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ouří?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27620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6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jvětší zátěž zatím stále nemocnice Nové Město n/M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211575"/>
              </p:ext>
            </p:extLst>
          </p:nvPr>
        </p:nvGraphicFramePr>
        <p:xfrm>
          <a:off x="434413" y="847512"/>
          <a:ext cx="11435203" cy="5066349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C19 případů, stále poměrně vysoké počty na JIP. Očekávaný výpadek personálu v souvislosti s šířením varianty omikron způsobí velké problémy se zajištěním péče. Podpora HZS/AČR nadále zásadní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, 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, nelze spustit elektivní operativu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dále identický problém – ARO/JIP zaplněny velkým množstvím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pacientů, většina z nich nadále na UPV a/anebo ECMO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8</a:t>
            </a:r>
            <a:r>
              <a:rPr lang="cs-CZ" b="1" dirty="0" smtClean="0"/>
              <a:t>.1.2022 00:40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479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3667043"/>
              </p:ext>
            </p:extLst>
          </p:nvPr>
        </p:nvGraphicFramePr>
        <p:xfrm>
          <a:off x="526474" y="979052"/>
          <a:ext cx="9328725" cy="5282244"/>
        </p:xfrm>
        <a:graphic>
          <a:graphicData uri="http://schemas.openxmlformats.org/drawingml/2006/table">
            <a:tbl>
              <a:tblPr/>
              <a:tblGrid>
                <a:gridCol w="2048035">
                  <a:extLst>
                    <a:ext uri="{9D8B030D-6E8A-4147-A177-3AD203B41FA5}">
                      <a16:colId xmlns:a16="http://schemas.microsoft.com/office/drawing/2014/main" val="1589095073"/>
                    </a:ext>
                  </a:extLst>
                </a:gridCol>
                <a:gridCol w="1166432">
                  <a:extLst>
                    <a:ext uri="{9D8B030D-6E8A-4147-A177-3AD203B41FA5}">
                      <a16:colId xmlns:a16="http://schemas.microsoft.com/office/drawing/2014/main" val="3066250101"/>
                    </a:ext>
                  </a:extLst>
                </a:gridCol>
                <a:gridCol w="1152865">
                  <a:extLst>
                    <a:ext uri="{9D8B030D-6E8A-4147-A177-3AD203B41FA5}">
                      <a16:colId xmlns:a16="http://schemas.microsoft.com/office/drawing/2014/main" val="2057586463"/>
                    </a:ext>
                  </a:extLst>
                </a:gridCol>
                <a:gridCol w="1152865">
                  <a:extLst>
                    <a:ext uri="{9D8B030D-6E8A-4147-A177-3AD203B41FA5}">
                      <a16:colId xmlns:a16="http://schemas.microsoft.com/office/drawing/2014/main" val="3795724076"/>
                    </a:ext>
                  </a:extLst>
                </a:gridCol>
                <a:gridCol w="1207120">
                  <a:extLst>
                    <a:ext uri="{9D8B030D-6E8A-4147-A177-3AD203B41FA5}">
                      <a16:colId xmlns:a16="http://schemas.microsoft.com/office/drawing/2014/main" val="17331978"/>
                    </a:ext>
                  </a:extLst>
                </a:gridCol>
                <a:gridCol w="960270">
                  <a:extLst>
                    <a:ext uri="{9D8B030D-6E8A-4147-A177-3AD203B41FA5}">
                      <a16:colId xmlns:a16="http://schemas.microsoft.com/office/drawing/2014/main" val="886059139"/>
                    </a:ext>
                  </a:extLst>
                </a:gridCol>
                <a:gridCol w="1641138">
                  <a:extLst>
                    <a:ext uri="{9D8B030D-6E8A-4147-A177-3AD203B41FA5}">
                      <a16:colId xmlns:a16="http://schemas.microsoft.com/office/drawing/2014/main" val="352103079"/>
                    </a:ext>
                  </a:extLst>
                </a:gridCol>
              </a:tblGrid>
              <a:tr h="15404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1629723"/>
                  </a:ext>
                </a:extLst>
              </a:tr>
              <a:tr h="154041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08.01. 2022, 11:00 h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6072610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8770411"/>
                  </a:ext>
                </a:extLst>
              </a:tr>
              <a:tr h="15404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296667"/>
                  </a:ext>
                </a:extLst>
              </a:tr>
              <a:tr h="60418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2085447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316170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269127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0832678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9461464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8262020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335378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4820607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2234307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1814323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51166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9225352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4857312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2324002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283121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4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1</a:t>
                      </a: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5274" marR="5274" marT="52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5706076"/>
                  </a:ext>
                </a:extLst>
              </a:tr>
              <a:tr h="154041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4035552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4782279"/>
                  </a:ext>
                </a:extLst>
              </a:tr>
              <a:tr h="15404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6870353"/>
                  </a:ext>
                </a:extLst>
              </a:tr>
              <a:tr h="15404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4" marR="5274" marT="52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50345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64621"/>
              </p:ext>
            </p:extLst>
          </p:nvPr>
        </p:nvGraphicFramePr>
        <p:xfrm>
          <a:off x="489525" y="1015992"/>
          <a:ext cx="9448802" cy="5312783"/>
        </p:xfrm>
        <a:graphic>
          <a:graphicData uri="http://schemas.openxmlformats.org/drawingml/2006/table">
            <a:tbl>
              <a:tblPr/>
              <a:tblGrid>
                <a:gridCol w="2074396">
                  <a:extLst>
                    <a:ext uri="{9D8B030D-6E8A-4147-A177-3AD203B41FA5}">
                      <a16:colId xmlns:a16="http://schemas.microsoft.com/office/drawing/2014/main" val="623040341"/>
                    </a:ext>
                  </a:extLst>
                </a:gridCol>
                <a:gridCol w="1181444">
                  <a:extLst>
                    <a:ext uri="{9D8B030D-6E8A-4147-A177-3AD203B41FA5}">
                      <a16:colId xmlns:a16="http://schemas.microsoft.com/office/drawing/2014/main" val="2649594813"/>
                    </a:ext>
                  </a:extLst>
                </a:gridCol>
                <a:gridCol w="1167706">
                  <a:extLst>
                    <a:ext uri="{9D8B030D-6E8A-4147-A177-3AD203B41FA5}">
                      <a16:colId xmlns:a16="http://schemas.microsoft.com/office/drawing/2014/main" val="3575246026"/>
                    </a:ext>
                  </a:extLst>
                </a:gridCol>
                <a:gridCol w="1167706">
                  <a:extLst>
                    <a:ext uri="{9D8B030D-6E8A-4147-A177-3AD203B41FA5}">
                      <a16:colId xmlns:a16="http://schemas.microsoft.com/office/drawing/2014/main" val="2961218414"/>
                    </a:ext>
                  </a:extLst>
                </a:gridCol>
                <a:gridCol w="1222656">
                  <a:extLst>
                    <a:ext uri="{9D8B030D-6E8A-4147-A177-3AD203B41FA5}">
                      <a16:colId xmlns:a16="http://schemas.microsoft.com/office/drawing/2014/main" val="1865295352"/>
                    </a:ext>
                  </a:extLst>
                </a:gridCol>
                <a:gridCol w="972630">
                  <a:extLst>
                    <a:ext uri="{9D8B030D-6E8A-4147-A177-3AD203B41FA5}">
                      <a16:colId xmlns:a16="http://schemas.microsoft.com/office/drawing/2014/main" val="1745482308"/>
                    </a:ext>
                  </a:extLst>
                </a:gridCol>
                <a:gridCol w="1662264">
                  <a:extLst>
                    <a:ext uri="{9D8B030D-6E8A-4147-A177-3AD203B41FA5}">
                      <a16:colId xmlns:a16="http://schemas.microsoft.com/office/drawing/2014/main" val="1917581320"/>
                    </a:ext>
                  </a:extLst>
                </a:gridCol>
              </a:tblGrid>
              <a:tr h="161759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788892"/>
                  </a:ext>
                </a:extLst>
              </a:tr>
              <a:tr h="16645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08.01. 2022, 11:00 h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1240846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3969142"/>
                  </a:ext>
                </a:extLst>
              </a:tr>
              <a:tr h="16175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0323475"/>
                  </a:ext>
                </a:extLst>
              </a:tr>
              <a:tr h="63442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2188741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711549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5192102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510422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7227046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701146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799660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4107679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7842652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1786056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0132948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665273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639409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8271380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0656146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87" marR="5287" marT="52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1510712"/>
                  </a:ext>
                </a:extLst>
              </a:tr>
              <a:tr h="16175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8874268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27363"/>
                  </a:ext>
                </a:extLst>
              </a:tr>
              <a:tr h="1617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1242257"/>
                  </a:ext>
                </a:extLst>
              </a:tr>
              <a:tr h="161759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34008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/>
              <a:t>8</a:t>
            </a:r>
            <a:r>
              <a:rPr lang="cs-CZ" b="1" dirty="0" smtClean="0"/>
              <a:t>.1.2022 00:40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2</a:t>
            </a:r>
            <a:r>
              <a:rPr lang="cs-CZ" sz="2000" b="1" dirty="0" smtClean="0"/>
              <a:t> 029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7815055"/>
              </p:ext>
            </p:extLst>
          </p:nvPr>
        </p:nvGraphicFramePr>
        <p:xfrm>
          <a:off x="254911" y="896492"/>
          <a:ext cx="8473454" cy="5475720"/>
        </p:xfrm>
        <a:graphic>
          <a:graphicData uri="http://schemas.openxmlformats.org/drawingml/2006/table">
            <a:tbl>
              <a:tblPr/>
              <a:tblGrid>
                <a:gridCol w="1793009">
                  <a:extLst>
                    <a:ext uri="{9D8B030D-6E8A-4147-A177-3AD203B41FA5}">
                      <a16:colId xmlns:a16="http://schemas.microsoft.com/office/drawing/2014/main" val="3209255936"/>
                    </a:ext>
                  </a:extLst>
                </a:gridCol>
                <a:gridCol w="1021184">
                  <a:extLst>
                    <a:ext uri="{9D8B030D-6E8A-4147-A177-3AD203B41FA5}">
                      <a16:colId xmlns:a16="http://schemas.microsoft.com/office/drawing/2014/main" val="3890363425"/>
                    </a:ext>
                  </a:extLst>
                </a:gridCol>
                <a:gridCol w="1009309">
                  <a:extLst>
                    <a:ext uri="{9D8B030D-6E8A-4147-A177-3AD203B41FA5}">
                      <a16:colId xmlns:a16="http://schemas.microsoft.com/office/drawing/2014/main" val="2341683880"/>
                    </a:ext>
                  </a:extLst>
                </a:gridCol>
                <a:gridCol w="1009309">
                  <a:extLst>
                    <a:ext uri="{9D8B030D-6E8A-4147-A177-3AD203B41FA5}">
                      <a16:colId xmlns:a16="http://schemas.microsoft.com/office/drawing/2014/main" val="1190020556"/>
                    </a:ext>
                  </a:extLst>
                </a:gridCol>
                <a:gridCol w="1056808">
                  <a:extLst>
                    <a:ext uri="{9D8B030D-6E8A-4147-A177-3AD203B41FA5}">
                      <a16:colId xmlns:a16="http://schemas.microsoft.com/office/drawing/2014/main" val="2630785202"/>
                    </a:ext>
                  </a:extLst>
                </a:gridCol>
                <a:gridCol w="1436783">
                  <a:extLst>
                    <a:ext uri="{9D8B030D-6E8A-4147-A177-3AD203B41FA5}">
                      <a16:colId xmlns:a16="http://schemas.microsoft.com/office/drawing/2014/main" val="421247589"/>
                    </a:ext>
                  </a:extLst>
                </a:gridCol>
                <a:gridCol w="1147052">
                  <a:extLst>
                    <a:ext uri="{9D8B030D-6E8A-4147-A177-3AD203B41FA5}">
                      <a16:colId xmlns:a16="http://schemas.microsoft.com/office/drawing/2014/main" val="3574967768"/>
                    </a:ext>
                  </a:extLst>
                </a:gridCol>
              </a:tblGrid>
              <a:tr h="146150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1017666"/>
                  </a:ext>
                </a:extLst>
              </a:tr>
              <a:tr h="146150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08.01. 2022, 11:00 h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805259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4607463"/>
                  </a:ext>
                </a:extLst>
              </a:tr>
              <a:tr h="14615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6401202"/>
                  </a:ext>
                </a:extLst>
              </a:tr>
              <a:tr h="43087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6757543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9426759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328917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2206289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9132953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369087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250550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286245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863647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029569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311504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836145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669049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7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734187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488175"/>
                  </a:ext>
                </a:extLst>
              </a:tr>
              <a:tr h="1461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5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1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3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6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5270" marR="5270" marT="52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5270" marR="5270" marT="52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432775"/>
                  </a:ext>
                </a:extLst>
              </a:tr>
              <a:tr h="116632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284551"/>
                  </a:ext>
                </a:extLst>
              </a:tr>
              <a:tr h="10720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3636460"/>
                  </a:ext>
                </a:extLst>
              </a:tr>
              <a:tr h="18090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0295923"/>
                  </a:ext>
                </a:extLst>
              </a:tr>
              <a:tr h="14615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70" marR="5270" marT="52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41846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902337" y="4360605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1.2022 11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0152791"/>
              </p:ext>
            </p:extLst>
          </p:nvPr>
        </p:nvGraphicFramePr>
        <p:xfrm>
          <a:off x="1345264" y="2313153"/>
          <a:ext cx="6569146" cy="2047452"/>
        </p:xfrm>
        <a:graphic>
          <a:graphicData uri="http://schemas.openxmlformats.org/drawingml/2006/table">
            <a:tbl>
              <a:tblPr/>
              <a:tblGrid>
                <a:gridCol w="4099087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82030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788029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9485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slední</a:t>
                      </a:r>
                      <a:r>
                        <a:rPr lang="cs-CZ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tualizace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oměřížská nemocnice a.s.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2:37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3:30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emocnice u sv. Anny v Brně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5:01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</a:t>
                      </a:r>
                      <a:r>
                        <a:rPr lang="cs-CZ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ový Jičín a.s.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6:05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21:32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</a:tbl>
          </a:graphicData>
        </a:graphic>
      </p:graphicFrame>
      <p:sp>
        <p:nvSpPr>
          <p:cNvPr id="7" name="TextovéPole 6"/>
          <p:cNvSpPr txBox="1"/>
          <p:nvPr/>
        </p:nvSpPr>
        <p:spPr>
          <a:xfrm>
            <a:off x="8851458" y="2351550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8958672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8.1.2022 0:40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2 508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(data</a:t>
                      </a:r>
                      <a:r>
                        <a:rPr lang="cs-CZ" sz="1400" b="0" baseline="0" dirty="0" smtClean="0">
                          <a:latin typeface="+mj-lt"/>
                          <a:cs typeface="Calibri" panose="020F0502020204030204" pitchFamily="34" charset="0"/>
                        </a:rPr>
                        <a:t> k 7.1.2022 0:29h)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566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9,5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479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92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5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51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73,3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735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7,9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 029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39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9,1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198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9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2587613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8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4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,2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2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803513" y="3270765"/>
            <a:ext cx="1095370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e 7.1. bylo 128 nově přijatých C+ pacientů a 224 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, nižší počty příjmů C+ pac, nadále vysoká zátěž IP -&gt; long COVID pacienti vyžadující UPV/ECMO</a:t>
            </a:r>
          </a:p>
          <a:p>
            <a:pPr lvl="3"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postupné navyšování elektivní péče v některých krajích</a:t>
            </a:r>
          </a:p>
          <a:p>
            <a:pPr lvl="3"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personální stránka – je očekáván výpadek personálu v souvislosti s vlnou </a:t>
            </a:r>
            <a:r>
              <a:rPr lang="cs-CZ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micron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třetí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NDLP </a:t>
            </a:r>
            <a:r>
              <a:rPr lang="cs-CZ" dirty="0" smtClean="0"/>
              <a:t>– Změny hodnocení situace v krajích od KKIP 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32819" y="1107472"/>
            <a:ext cx="11487705" cy="5135066"/>
          </a:xfrm>
        </p:spPr>
        <p:txBody>
          <a:bodyPr>
            <a:normAutofit lnSpcReduction="10000"/>
          </a:bodyPr>
          <a:lstStyle/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PHA – pokles akutních příjmů C+ pac, kapacity zabírají long-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pac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stále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omezená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A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mírně uvolněna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, lůžka pro COVID+ s dostatečnou kapacitou při spíše nižším počtu příjmů. Část navýšených kapacit uzavřena, na úkor „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ektivy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“, udržována částečně navýšená kapacita standardní i IP péče v očekávání další vlny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epidemie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TČ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zklidnění situace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omezena do 20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%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ZL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pokles C+ hospitalizovaných na standardu, JIP zatížené také méně, vysoký počet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post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a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non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pacientů na JIP, 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nelze spustit elektivní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operativu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UL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Stagnace C19 případů, vysoké počty na JIP. Očekávaný výpadek personálu v souvislosti s šířením varianty omikron způsobí velké problémy se zajištěním péče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omezena do 20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%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KHK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- Dočasně pozastavena činnosti některých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+ jednotek, část COVID+ jednotek intenzivní péče pracuje nyní v hybridním režimu. Dočasně v závislosti na ZZ 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parciálně nebo plně obnovena operativa (do 20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%)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MSK - ARO/JIP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velké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množství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„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postCOVI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“ pacientů, většina z nich nadále na UPV a/anebo ECMO,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pozastavena</a:t>
            </a:r>
            <a:endParaRPr lang="cs-CZ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JHČ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cs-CZ" sz="16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 omezená do 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20%.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VYS – celkové zlepšení situace, </a:t>
            </a:r>
            <a:r>
              <a:rPr lang="cs-CZ" sz="1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omezena do 20%,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stále největší zátěž </a:t>
            </a:r>
            <a:r>
              <a:rPr lang="cs-CZ" sz="16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nem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 Nové Město na Moravě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JHM – zlepšení situace, </a:t>
            </a:r>
            <a:r>
              <a:rPr lang="cs-CZ" sz="1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omezena o více než 50%,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Vysoké 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%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postkovidů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na lůžkách 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IP</a:t>
            </a:r>
          </a:p>
          <a:p>
            <a:pPr marL="342900" lvl="0" indent="-342900">
              <a:buClrTx/>
              <a:buFont typeface="+mj-lt"/>
              <a:buAutoNum type="arabicParenR"/>
              <a:defRPr/>
            </a:pP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LK – zlepšení situace, </a:t>
            </a:r>
            <a:r>
              <a:rPr lang="cs-CZ" sz="1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elektiva</a:t>
            </a:r>
            <a:r>
              <a:rPr lang="cs-CZ" sz="1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nadále omezena o cca 60%,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Přetrvávají </a:t>
            </a:r>
            <a:r>
              <a:rPr lang="pt-BR" sz="1600" dirty="0">
                <a:latin typeface="Segoe UI" panose="020B0502040204020203" pitchFamily="34" charset="0"/>
                <a:cs typeface="Segoe UI" panose="020B0502040204020203" pitchFamily="34" charset="0"/>
              </a:rPr>
              <a:t>postCOVid pacienti na </a:t>
            </a:r>
            <a:r>
              <a:rPr lang="pt-BR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IP</a:t>
            </a:r>
            <a:r>
              <a:rPr lang="cs-CZ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stand</a:t>
            </a:r>
            <a:r>
              <a:rPr lang="cs-CZ" sz="1600" dirty="0">
                <a:latin typeface="Segoe UI" panose="020B0502040204020203" pitchFamily="34" charset="0"/>
                <a:cs typeface="Segoe UI" panose="020B0502040204020203" pitchFamily="34" charset="0"/>
              </a:rPr>
              <a:t> by opatření s ohledem na vizi omikron mutace</a:t>
            </a:r>
            <a:endParaRPr lang="cs-CZ" sz="16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041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533277"/>
              </p:ext>
            </p:extLst>
          </p:nvPr>
        </p:nvGraphicFramePr>
        <p:xfrm>
          <a:off x="332646" y="735378"/>
          <a:ext cx="11405086" cy="5036646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bilní situace, pokles akutně přijíman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kapacity obsazeny již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kovidovaný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emocnými stále vyžadujícími IP, kteří udržují vysok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IP/ARO.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tále omezená, odlišně v různých ZZ dle konkrétní situace. I přes to občas problém s příjmem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nízk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plianc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ersonálu vůči neočkovaným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tento týden mírně uvolněn, onkologická aj. neodkladná operativa zcela bez </a:t>
                      </a:r>
                      <a:r>
                        <a:rPr lang="cs-CZ" sz="1300" b="0" i="0" kern="120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.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ůžka pro COVID+ zatím s dostatečnou kapacitou při spíše nižším počtu příjmů. Část navýšených kapacit uzavřena, na úkor „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“ ale udržována částečně navýšená kapacita standardní i IP péče v očekávání další vlny epidemie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časně pozastavena činnosti někter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jednotek, část COVID+ jednotek intenzivní péče pracuje nyní v hybridním režimu. Dočasně parciálně nebo plně obnovena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4394</TotalTime>
  <Words>2338</Words>
  <Application>Microsoft Office PowerPoint</Application>
  <PresentationFormat>Širokoúhlá obrazovka</PresentationFormat>
  <Paragraphs>560</Paragraphs>
  <Slides>12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2</vt:i4>
      </vt:variant>
    </vt:vector>
  </HeadingPairs>
  <TitlesOfParts>
    <vt:vector size="19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NDLP – Změny hodnocení situace v krajích od KKIP 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aniel Karafiát</cp:lastModifiedBy>
  <cp:revision>1851</cp:revision>
  <cp:lastPrinted>2020-10-20T04:21:56Z</cp:lastPrinted>
  <dcterms:created xsi:type="dcterms:W3CDTF">2020-07-15T10:33:32Z</dcterms:created>
  <dcterms:modified xsi:type="dcterms:W3CDTF">2022-01-08T10:06:04Z</dcterms:modified>
</cp:coreProperties>
</file>